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0" r:id="rId4"/>
    <p:sldId id="261" r:id="rId5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87" d="100"/>
          <a:sy n="87" d="100"/>
        </p:scale>
        <p:origin x="66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 smtClean="0"/>
              <a:t>Στυλ κύριου υπότιτλ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Στυλ κύριου τίτλου</a:t>
            </a:r>
            <a:endParaRPr lang="el-GR"/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9/12/2024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Ρυθμίσεις Δανείων</a:t>
            </a:r>
            <a:r>
              <a:rPr lang="el-GR" sz="4400" b="1" dirty="0">
                <a:solidFill>
                  <a:srgbClr val="FFFFFF"/>
                </a:solidFill>
                <a:latin typeface="+mn-lt"/>
              </a:rPr>
              <a:t> </a:t>
            </a:r>
            <a:r>
              <a:rPr lang="el-GR" sz="4400" b="1" dirty="0" smtClean="0">
                <a:solidFill>
                  <a:srgbClr val="FFFFFF"/>
                </a:solidFill>
                <a:latin typeface="+mn-lt"/>
              </a:rPr>
              <a:t>Χρηματοδοτικών Φορέων</a:t>
            </a:r>
            <a:r>
              <a:rPr lang="el-GR" sz="24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4400" b="1" dirty="0">
                <a:solidFill>
                  <a:srgbClr val="FF0000"/>
                </a:solidFill>
                <a:latin typeface="+mn-lt"/>
              </a:rPr>
              <a:t/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0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3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</a:t>
            </a:r>
            <a:r>
              <a:rPr lang="el-GR" sz="3600" b="1" dirty="0" smtClean="0">
                <a:solidFill>
                  <a:schemeClr val="bg1"/>
                </a:solidFill>
                <a:latin typeface="+mn-lt"/>
              </a:rPr>
              <a:t>12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</a:rPr>
              <a:t>.2024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 smtClean="0">
                <a:solidFill>
                  <a:srgbClr val="FFFFFF"/>
                </a:solidFill>
              </a:rPr>
              <a:t>Ελληνική Δημοκρατία</a:t>
            </a:r>
            <a:r>
              <a:rPr lang="en-US" sz="1800" dirty="0" smtClean="0">
                <a:solidFill>
                  <a:srgbClr val="FFFFFF"/>
                </a:solidFill>
                <a:latin typeface="+mn-lt"/>
              </a:rPr>
              <a:t/>
            </a:r>
            <a:br>
              <a:rPr lang="en-US" sz="1800" dirty="0" smtClean="0">
                <a:solidFill>
                  <a:srgbClr val="FFFFFF"/>
                </a:solidFill>
                <a:latin typeface="+mn-lt"/>
              </a:rPr>
            </a:br>
            <a:endParaRPr lang="el-GR" sz="1800" b="1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266765" y="2063933"/>
            <a:ext cx="2328518" cy="1858169"/>
          </a:xfrm>
        </p:spPr>
        <p:txBody>
          <a:bodyPr anchor="b">
            <a:normAutofit/>
          </a:bodyPr>
          <a:lstStyle/>
          <a:p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Τράπεζες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ΜΕΔ σε καθυστέρηση &gt;90 ημερών, στοιχεία 3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0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0</a:t>
            </a:r>
            <a:r>
              <a:rPr lang="en-US" sz="1400" b="1" dirty="0" smtClean="0">
                <a:solidFill>
                  <a:srgbClr val="FFFFFF"/>
                </a:solidFill>
                <a:latin typeface="+mn-lt"/>
              </a:rPr>
              <a:t>9</a:t>
            </a: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.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TextBox 5"/>
          <p:cNvSpPr txBox="1"/>
          <p:nvPr/>
        </p:nvSpPr>
        <p:spPr>
          <a:xfrm>
            <a:off x="3400320" y="78378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Μεγάλο μέρος των ΜΕΔ των τραπεζών σε καθυστέρηση &gt;90 ημερών είναι καταγγελμένο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Κατά μ.ό. </a:t>
            </a:r>
            <a:r>
              <a:rPr lang="en-US" dirty="0" smtClean="0"/>
              <a:t>20</a:t>
            </a:r>
            <a:r>
              <a:rPr lang="el-GR" dirty="0" smtClean="0"/>
              <a:t>% του συνόλου βρίσκεται σε καθεστώς ρύθμισης </a:t>
            </a:r>
            <a:endParaRPr lang="el-GR" dirty="0"/>
          </a:p>
        </p:txBody>
      </p:sp>
      <p:sp>
        <p:nvSpPr>
          <p:cNvPr id="16" name="TextBox 15"/>
          <p:cNvSpPr txBox="1"/>
          <p:nvPr/>
        </p:nvSpPr>
        <p:spPr>
          <a:xfrm>
            <a:off x="3232750" y="6478531"/>
            <a:ext cx="818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δείχνουν πώς κατανέμονται τα ΜΕΔ τραπεζών ανάλογα με το </a:t>
            </a:r>
            <a:r>
              <a:rPr lang="en-US" sz="900" i="1" dirty="0" smtClean="0"/>
              <a:t>status </a:t>
            </a:r>
            <a:r>
              <a:rPr lang="el-GR" sz="900" i="1" dirty="0" smtClean="0"/>
              <a:t>στο οποίο βρίσκονται (καταγγελμένο,</a:t>
            </a:r>
            <a:r>
              <a:rPr lang="en-US" sz="900" i="1" dirty="0" smtClean="0"/>
              <a:t> </a:t>
            </a:r>
            <a:r>
              <a:rPr lang="el-GR" sz="900" i="1" dirty="0" smtClean="0"/>
              <a:t>σε καθυστέρηση</a:t>
            </a:r>
            <a:r>
              <a:rPr lang="en-US" sz="900" i="1" dirty="0" smtClean="0"/>
              <a:t> </a:t>
            </a:r>
            <a:r>
              <a:rPr lang="el-GR" sz="900" i="1" dirty="0" smtClean="0"/>
              <a:t>&gt;91 ημερών – ρυθμισμένα και μη) </a:t>
            </a:r>
            <a:endParaRPr lang="el-GR" sz="900" i="1" dirty="0"/>
          </a:p>
        </p:txBody>
      </p:sp>
      <p:cxnSp>
        <p:nvCxnSpPr>
          <p:cNvPr id="13" name="Ευθεία γραμμή σύνδεσης 12"/>
          <p:cNvCxnSpPr/>
          <p:nvPr/>
        </p:nvCxnSpPr>
        <p:spPr>
          <a:xfrm flipV="1">
            <a:off x="3116063" y="3767021"/>
            <a:ext cx="8962726" cy="155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Ευθεία γραμμή σύνδεσης 22"/>
          <p:cNvCxnSpPr/>
          <p:nvPr/>
        </p:nvCxnSpPr>
        <p:spPr>
          <a:xfrm>
            <a:off x="7575881" y="1046268"/>
            <a:ext cx="0" cy="54322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Εικόνα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222" y="1071540"/>
            <a:ext cx="4265112" cy="2687656"/>
          </a:xfrm>
          <a:prstGeom prst="rect">
            <a:avLst/>
          </a:prstGeom>
        </p:spPr>
      </p:pic>
      <p:pic>
        <p:nvPicPr>
          <p:cNvPr id="7" name="Εικόνα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7429" y="1069948"/>
            <a:ext cx="4213035" cy="2662224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9702" y="3821404"/>
            <a:ext cx="4256032" cy="2681935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7429" y="3817435"/>
            <a:ext cx="4281089" cy="269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7" y="133376"/>
            <a:ext cx="86036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Από τα €</a:t>
            </a:r>
            <a:r>
              <a:rPr lang="en-US" dirty="0" smtClean="0"/>
              <a:t>70 </a:t>
            </a:r>
            <a:r>
              <a:rPr lang="el-GR" dirty="0" smtClean="0"/>
              <a:t>δις ΜΕΑ που βρίσκονται στους </a:t>
            </a:r>
            <a:r>
              <a:rPr lang="en-US" dirty="0" smtClean="0"/>
              <a:t>Servicers </a:t>
            </a:r>
            <a:r>
              <a:rPr lang="el-GR" dirty="0" smtClean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…και τους αντιστοιχούν ρυθμίσεις ύψους €286,55 εκ. για 7.622 οφειλέτες για τον Οκτώβριο</a:t>
            </a:r>
            <a:endParaRPr lang="el-GR" dirty="0"/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 smtClean="0"/>
              <a:t>Σημείωση</a:t>
            </a:r>
            <a:r>
              <a:rPr lang="en-US" sz="900" i="1" dirty="0" smtClean="0"/>
              <a:t>: </a:t>
            </a:r>
            <a:r>
              <a:rPr lang="el-GR" sz="900" i="1" dirty="0" smtClean="0"/>
              <a:t>Τα γραφήματα στηλών δείχνουν την «παραγωγή» ρυθμίσεων εντός του μήνα αναφοράς σε όρους συνολικού ποσού ανάκτησης </a:t>
            </a:r>
            <a:endParaRPr lang="el-GR" sz="900" i="1" dirty="0"/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Οκτωβρίου 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828" y="897800"/>
            <a:ext cx="4357990" cy="2597028"/>
          </a:xfrm>
          <a:prstGeom prst="rect">
            <a:avLst/>
          </a:prstGeom>
        </p:spPr>
      </p:pic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3463" y="3724472"/>
            <a:ext cx="9061305" cy="280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4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 smtClean="0"/>
              <a:t>Η πλειοψηφία αφορά στεγαστικά δάνεια για 3 από τους 4 πιστωτές σε διαφορετικούς τύπους ρύθμισης</a:t>
            </a:r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 smtClean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 smtClean="0">
                <a:solidFill>
                  <a:srgbClr val="FFFFFF"/>
                </a:solidFill>
                <a:latin typeface="+mn-lt"/>
              </a:rPr>
            </a:br>
            <a:r>
              <a:rPr lang="el-GR" sz="1400" b="1" dirty="0" smtClean="0">
                <a:solidFill>
                  <a:srgbClr val="FFFFFF"/>
                </a:solidFill>
                <a:latin typeface="+mn-lt"/>
              </a:rPr>
              <a:t>(στοιχεία Οκτωβρίου 2024)</a:t>
            </a:r>
            <a:endParaRPr lang="el-GR" sz="1400" b="1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" name="Εικόνα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364" y="971718"/>
            <a:ext cx="9091650" cy="508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4</TotalTime>
  <Words>188</Words>
  <Application>Microsoft Office PowerPoint</Application>
  <PresentationFormat>Ευρεία οθόνη</PresentationFormat>
  <Paragraphs>17</Paragraphs>
  <Slides>4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Θέμα του Office</vt:lpstr>
      <vt:lpstr>Ρυθμίσεις Δανείων Χρηματοδοτικών Φορέων  03.12.2024</vt:lpstr>
      <vt:lpstr>Τράπεζες (ΜΕΔ σε καθυστέρηση &gt;90 ημερών, στοιχεία 30.09.2024)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Stefanis Petros</cp:lastModifiedBy>
  <cp:revision>61</cp:revision>
  <dcterms:created xsi:type="dcterms:W3CDTF">2024-06-03T14:29:32Z</dcterms:created>
  <dcterms:modified xsi:type="dcterms:W3CDTF">2024-12-09T10:32:49Z</dcterms:modified>
</cp:coreProperties>
</file>